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27" d="100"/>
          <a:sy n="127" d="100"/>
        </p:scale>
        <p:origin x="1446" y="120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PETTERSSON | Studia Ingénierie" userId="78942985-7c7f-45cd-9240-8ec9f4102ab7" providerId="ADAL" clId="{AA0B41E9-FC83-440B-9F61-A754DCB7BDBB}"/>
    <pc:docChg chg="modSld">
      <pc:chgData name="Maria PETTERSSON | Studia Ingénierie" userId="78942985-7c7f-45cd-9240-8ec9f4102ab7" providerId="ADAL" clId="{AA0B41E9-FC83-440B-9F61-A754DCB7BDBB}" dt="2020-03-18T09:22:23.695" v="1" actId="20577"/>
      <pc:docMkLst>
        <pc:docMk/>
      </pc:docMkLst>
      <pc:sldChg chg="modSp mod">
        <pc:chgData name="Maria PETTERSSON | Studia Ingénierie" userId="78942985-7c7f-45cd-9240-8ec9f4102ab7" providerId="ADAL" clId="{AA0B41E9-FC83-440B-9F61-A754DCB7BDBB}" dt="2020-03-18T09:22:23.695" v="1" actId="20577"/>
        <pc:sldMkLst>
          <pc:docMk/>
          <pc:sldMk cId="2369487437" sldId="376"/>
        </pc:sldMkLst>
        <pc:spChg chg="mod">
          <ac:chgData name="Maria PETTERSSON | Studia Ingénierie" userId="78942985-7c7f-45cd-9240-8ec9f4102ab7" providerId="ADAL" clId="{AA0B41E9-FC83-440B-9F61-A754DCB7BDBB}" dt="2020-03-18T09:22:23.695" v="1" actId="20577"/>
          <ac:spMkLst>
            <pc:docMk/>
            <pc:sldMk cId="2369487437" sldId="376"/>
            <ac:spMk id="19477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8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8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N°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Y VENTAJA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CIÓ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s-ES"/>
              <a:t>Anticipe la falta de repuesto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s-ES"/>
              <a:t>ELAU LMC300 PACDRIVE 3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o: Rollquatt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e catálogo: OCL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>
                <a:solidFill>
                  <a:srgbClr val="E64B00"/>
                </a:solidFill>
              </a:rPr>
              <a:t>Una solución más segura con un componente más reciente disponible en el mercado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>
                <a:solidFill>
                  <a:srgbClr val="E64B00"/>
                </a:solidFill>
              </a:rPr>
              <a:t>Prevención de paros prolongados en caso de falla: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>
                <a:solidFill>
                  <a:srgbClr val="000000"/>
                </a:solidFill>
              </a:rPr>
              <a:t>El fabricante de ELAU MAX-4/C 600/C 400 y MC-4, instalados en varias etiquetadoras, ha dejado de producirlos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>
                <a:solidFill>
                  <a:srgbClr val="000000"/>
                </a:solidFill>
              </a:rPr>
              <a:t>Existe el riesgo de una inminente falta de repuestos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>
                <a:solidFill>
                  <a:srgbClr val="000000"/>
                </a:solidFill>
              </a:rPr>
              <a:t>Esto puede conllevar largos paros de los equipos en las plantas de embotellado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s-ES" sz="1200" b="1">
                <a:solidFill>
                  <a:srgbClr val="E64B00"/>
                </a:solidFill>
              </a:rPr>
              <a:t>Incorporación de control EtherNet/IP</a:t>
            </a:r>
            <a:r>
              <a:rPr lang="es-ES" sz="1200">
                <a:solidFill>
                  <a:srgbClr val="000000"/>
                </a:solidFill>
              </a:rPr>
              <a:t> al variador de frecuencia (a diferencia de las versiones con DeviceNet para el mercado estadounidense)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36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>
                <a:solidFill>
                  <a:srgbClr val="000000"/>
                </a:solidFill>
              </a:rPr>
              <a:t>Nuevo sistema con </a:t>
            </a:r>
            <a:r>
              <a:rPr lang="es-ES" sz="1200"/>
              <a:t>LMC300 PACDRIVE 3</a:t>
            </a:r>
            <a:r>
              <a:rPr lang="es-ES" sz="120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>
                <a:solidFill>
                  <a:srgbClr val="000000"/>
                </a:solidFill>
              </a:rPr>
              <a:t>El nuevo sistema cuenta con un controlador </a:t>
            </a:r>
            <a:r>
              <a:rPr lang="es-ES" sz="1200"/>
              <a:t>LMC300 PACDRIVE 3 </a:t>
            </a:r>
            <a:r>
              <a:rPr lang="es-ES" sz="1200">
                <a:solidFill>
                  <a:srgbClr val="000000"/>
                </a:solidFill>
              </a:rPr>
              <a:t>provisto de un servovariador LXM62. 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s-ES" sz="1200">
                <a:solidFill>
                  <a:srgbClr val="000000"/>
                </a:solidFill>
              </a:rPr>
              <a:t>Funciona únicamente con motores Elau SH, que también se pueden incluir en la O&amp;U, si es necesario (para sustituir el modelo SM obsoleto).</a:t>
            </a:r>
          </a:p>
        </p:txBody>
      </p:sp>
      <p:pic>
        <p:nvPicPr>
          <p:cNvPr id="17" name="Immagine 16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C71DD28B-7F8E-4DF3-9D39-675053A8A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83" y="4144566"/>
            <a:ext cx="1407319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741A42B-B3D9-4023-933F-1E395DB6C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757" y="4044553"/>
            <a:ext cx="1607344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47BCD3-D7F4-4452-A40E-C5E76D3B010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C4E2FD8-E6AE-42D3-B19B-99F1D662799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00488F-B895-4ECD-B5EE-C95190897E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61</TotalTime>
  <Words>170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Anticipe la falta de repues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Maria PETTERSSON | Studia Ingénierie</cp:lastModifiedBy>
  <cp:revision>251</cp:revision>
  <dcterms:created xsi:type="dcterms:W3CDTF">2019-02-20T10:39:16Z</dcterms:created>
  <dcterms:modified xsi:type="dcterms:W3CDTF">2020-03-18T09:2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